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2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87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4F8-43D1-BDB3-0C48F947B1FE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4F8-43D1-BDB3-0C48F947B1F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4F8-43D1-BDB3-0C48F947B1FE}"/>
                </c:ext>
              </c:extLst>
            </c:dLbl>
            <c:dLbl>
              <c:idx val="8"/>
              <c:layout>
                <c:manualLayout>
                  <c:x val="-1.0979961570136115E-3"/>
                  <c:y val="-2.8248587570622505E-3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4F8-43D1-BDB3-0C48F947B1FE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4F8-43D1-BDB3-0C48F947B1F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4F8-43D1-BDB3-0C48F947B1FE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4F8-43D1-BDB3-0C48F947B1FE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4F8-43D1-BDB3-0C48F947B1F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4F8-43D1-BDB3-0C48F947B1F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4F8-43D1-BDB3-0C48F947B1F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4F8-43D1-BDB3-0C48F947B1F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4F8-43D1-BDB3-0C48F947B1F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4F8-43D1-BDB3-0C48F947B1FE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4F8-43D1-BDB3-0C48F947B1F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4F8-43D1-BDB3-0C48F947B1F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4F8-43D1-BDB3-0C48F947B1FE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altLang="zh-CN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4F8-43D1-BDB3-0C48F947B1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4F8-43D1-BDB3-0C48F947B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0859440"/>
        <c:axId val="1"/>
      </c:barChart>
      <c:catAx>
        <c:axId val="31085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0859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22302D10-7FDF-495A-AD65-EBFFF1A20CD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E85D4FC2-E224-4378-9A81-787E71B6D7F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4" name="chart">
          <a:extLst xmlns:a="http://schemas.openxmlformats.org/drawingml/2006/main">
            <a:ext uri="{FF2B5EF4-FFF2-40B4-BE49-F238E27FC236}">
              <a16:creationId xmlns:a16="http://schemas.microsoft.com/office/drawing/2014/main" id="{DA7688A7-879D-481C-AC5A-EB692114CDA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5" name="chart">
          <a:extLst xmlns:a="http://schemas.openxmlformats.org/drawingml/2006/main">
            <a:ext uri="{FF2B5EF4-FFF2-40B4-BE49-F238E27FC236}">
              <a16:creationId xmlns:a16="http://schemas.microsoft.com/office/drawing/2014/main" id="{B655333A-86D3-40F4-92EC-752F273A42A1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</cdr:x>
      <cdr:y>0</cdr:y>
    </cdr:from>
    <cdr:to>
      <cdr:x>0.107</cdr:x>
      <cdr:y>0.08408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CCA7067F-9FA5-413E-899C-B3B6C2B0BAF9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37595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C3C07-E675-4977-89F8-7ABD2A9ACFE5}" type="datetimeFigureOut">
              <a:rPr lang="zh-CN" altLang="en-US" smtClean="0"/>
              <a:t>2025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F5397D-C1FB-4096-BADD-203D31C8A90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11869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24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47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86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5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88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268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13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237349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chart" Target="../charts/chart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image" Target="../media/image5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oleObject" Target="../embeddings/oleObject5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706382AE-5B8A-44F3-8851-BE27CC664DB0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7" y="2541588"/>
            <a:ext cx="5067300" cy="5000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1E2183B-9084-BE55-A659-DF76E4D18A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103937" y="1374775"/>
            <a:ext cx="5067300" cy="1166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2}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4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5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6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8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9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4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5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6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7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8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9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0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1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13075" y="2640013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47038" y="1806575"/>
            <a:ext cx="1181100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2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F15E638-02FA-6428-BAC2-9C097992E5C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269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E20C8570-0CB3-6150-D4FC-70274824CE84}"/>
              </a:ext>
            </a:extLst>
          </p:cNvPr>
          <p:cNvSpPr txBox="1">
            <a:spLocks/>
          </p:cNvSpPr>
          <p:nvPr/>
        </p:nvSpPr>
        <p:spPr>
          <a:xfrm>
            <a:off x="403731" y="886115"/>
            <a:ext cx="7062876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ext}</a:t>
            </a:r>
          </a:p>
        </p:txBody>
      </p:sp>
    </p:spTree>
    <p:extLst>
      <p:ext uri="{BB962C8B-B14F-4D97-AF65-F5344CB8AC3E}">
        <p14:creationId xmlns:p14="http://schemas.microsoft.com/office/powerpoint/2010/main" val="1359502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2PeNoM_sF9XgsrLxrF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LdvS5p_eY9ZtikLyzs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9</Words>
  <Application>Microsoft Office PowerPoint</Application>
  <PresentationFormat>宽屏</PresentationFormat>
  <Paragraphs>4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3T06:22:07Z</dcterms:created>
  <dcterms:modified xsi:type="dcterms:W3CDTF">2025-09-03T06:22:24Z</dcterms:modified>
</cp:coreProperties>
</file>